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10" r:id="rId3"/>
    <p:sldMasterId id="2147483741" r:id="rId4"/>
  </p:sldMasterIdLst>
  <p:notesMasterIdLst>
    <p:notesMasterId r:id="rId13"/>
  </p:notesMasterIdLst>
  <p:sldIdLst>
    <p:sldId id="572" r:id="rId5"/>
    <p:sldId id="257" r:id="rId6"/>
    <p:sldId id="574" r:id="rId7"/>
    <p:sldId id="271" r:id="rId8"/>
    <p:sldId id="575" r:id="rId9"/>
    <p:sldId id="562" r:id="rId10"/>
    <p:sldId id="452" r:id="rId11"/>
    <p:sldId id="576" r:id="rId12"/>
  </p:sldIdLst>
  <p:sldSz cx="12192000" cy="6858000"/>
  <p:notesSz cx="6735763" cy="9866313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08" autoAdjust="0"/>
    <p:restoredTop sz="75966" autoAdjust="0"/>
  </p:normalViewPr>
  <p:slideViewPr>
    <p:cSldViewPr snapToGrid="0">
      <p:cViewPr varScale="1">
        <p:scale>
          <a:sx n="148" d="100"/>
          <a:sy n="148" d="100"/>
        </p:scale>
        <p:origin x="216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89" d="100"/>
          <a:sy n="89" d="100"/>
        </p:scale>
        <p:origin x="1884" y="-2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4626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CD5E0F77-1DD1-4891-B409-6C04E1B2996B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3262" y="4747760"/>
            <a:ext cx="5389240" cy="3884673"/>
          </a:xfrm>
          <a:prstGeom prst="rect">
            <a:avLst/>
          </a:prstGeom>
        </p:spPr>
        <p:txBody>
          <a:bodyPr vert="horz" lIns="90763" tIns="45382" rIns="90763" bIns="45382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2445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4626" y="9372445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9D973589-D7A3-4E48-9768-F99FED6B62B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0625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sen takk! Mitt navn er Gøril Bergh.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er ny i jobben som daglig leder i Drammen Helsepark – så ny at jeg ikke har startet ennå. Jeg er på plass den 1. mars - og blir da selskapets første ansatte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er entusiastisk – og gleder meg til å jobbe med en et av de mest ambisiøse helseutviklingsprosjektene i landet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us er nå: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ammen Helsepark går inn i en ny fase - der vi forbereder bygging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avearbeider for underetasjen med blant annet parkering til sykehuset starter nå til høsten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mtidig intensiverer vi nå arbeidet med å tiltrekke aktører til helseparken. </a:t>
            </a: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ggetrinn 1 er ferdig sammen med sykehusets åpning – i mai 2025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ggetrinn 1 består av minimum parkeringsanlegget i underetasjen, men målet er at også deler av byggene i helseparken skal kunne tas i bruk.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973589-D7A3-4E48-9768-F99FED6B62B0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3551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rt historikk: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ammen Helsepark AS ble stiftet i 2017. 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godt og nært samarbeid med Vestre Viken, Sykehusbygg og kommunene jobbet vi frem reguleringsplanen.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uleringplanen</a:t>
            </a: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le vedtatt høsten 2019.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ammen Helsepark AS har statlig, kommunalt og privat eierskap.</a:t>
            </a: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lskapet eies av </a:t>
            </a:r>
            <a:r>
              <a:rPr lang="nb-NO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dos</a:t>
            </a: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iendomsutvikling AS og Bane NOR Eiendom AS.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dos</a:t>
            </a: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g Bane Nor Eiendom har  begge 50 % eierskap i DHP.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973589-D7A3-4E48-9768-F99FED6B62B0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13708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i Drammen Helsepark skal bygge 76.000 kvadratmeter – og vi skal utvikle et byrom sammen med sykehuset.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rommet knytter sykehus og helsepark til bystrukturen i Drammen og blir inngangsporten til Fjordbyen fra vest og inn i Lier kommune.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kehus og helsepark blir sammenvevd. For eksempel slik: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I vår underetasje bygges </a:t>
            </a:r>
            <a:r>
              <a:rPr lang="nb-NO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vedparkeringsanlegget</a:t>
            </a: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or besøkende til sykehuset.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Ansatte og besøkende til sykehuset som kommer med tog vil passere gjennom helseparken til sykehusets hovedinngang.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Det er regulert inn mulighet for en gangbru – som kan skape  landets sikreste og smarteste løsning for pasientflyt mellom statlig og kommunal  helseomsorg.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Vi planlegger for virksomheter som alle har et felles fokus – til det beste for pasienter, brukere, ansatte, studenter og besøkende til det nye sykehusområdet. </a:t>
            </a:r>
          </a:p>
          <a:p>
            <a:endParaRPr lang="nb-NO" i="1" dirty="0">
              <a:highlight>
                <a:srgbClr val="FFFF00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973589-D7A3-4E48-9768-F99FED6B62B0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20567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ykehuset og Drammen Helsepark gir en rekke muligheter og fordeler. Som: </a:t>
            </a: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737452" lvl="1" indent="-283635">
              <a:buFont typeface="Courier New" panose="02070309020205020404" pitchFamily="49" charset="0"/>
              <a:buChar char="o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t på ett-sted – et rikt tilbud av helsetjenester samlet på et sted – til det beste for pasienten. </a:t>
            </a:r>
          </a:p>
          <a:p>
            <a:pPr marL="453817" lvl="1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37452" lvl="1" indent="-283635">
              <a:buFont typeface="Courier New" panose="02070309020205020404" pitchFamily="49" charset="0"/>
              <a:buChar char="o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ir bedre samhandling mellom regionens største og viktigste lokalsykehus og kommunale helsetjenester</a:t>
            </a:r>
          </a:p>
          <a:p>
            <a:pPr marL="453817" lvl="1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37452" lvl="1" indent="-283635">
              <a:buFont typeface="Courier New" panose="02070309020205020404" pitchFamily="49" charset="0"/>
              <a:buChar char="o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kre en tryggere pasientbehandling ved å samlokalisere  kommunale og statlige helsetjenester</a:t>
            </a:r>
          </a:p>
          <a:p>
            <a:pPr marL="453817" lvl="1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37452" lvl="1" indent="-283635">
              <a:buFont typeface="Courier New" panose="02070309020205020404" pitchFamily="49" charset="0"/>
              <a:buChar char="o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lrettelegge for å bygge opp et unikt utdanningstilbud innenfor helsesektoren – her kan undervisning og sykehus samarbeide om utdanning av kommende helsearbeidere. </a:t>
            </a:r>
          </a:p>
          <a:p>
            <a:pPr marL="453817" lvl="1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3817" lvl="1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Vi har regulert inn arealer for en videregående linje med helsefag – i tråd med samarbeids- og intensjonsavtalen vi har med tidligere Buskerud fylkeskommune</a:t>
            </a:r>
          </a:p>
          <a:p>
            <a:pPr marL="453817" lvl="1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37452" lvl="1" indent="-283635">
              <a:buFont typeface="Courier New" panose="02070309020205020404" pitchFamily="49" charset="0"/>
              <a:buChar char="o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ltrekke nye virksomheter og dermed nye arbeidsplasser til regionen</a:t>
            </a:r>
          </a:p>
          <a:p>
            <a:pPr marL="453817" lvl="1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37452" lvl="1" indent="-283635">
              <a:buFont typeface="Courier New" panose="02070309020205020404" pitchFamily="49" charset="0"/>
              <a:buChar char="o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sient-/sykehotell til fordel både for sykehuset og øvrige virksomheter i helseparken</a:t>
            </a:r>
          </a:p>
          <a:p>
            <a:pPr marL="453817" lvl="1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37452" lvl="1" indent="-283635">
              <a:buFont typeface="Courier New" panose="02070309020205020404" pitchFamily="49" charset="0"/>
              <a:buChar char="o"/>
            </a:pP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dre servicetilbud som skaper aktivitet og et levende byrom</a:t>
            </a:r>
          </a:p>
          <a:p>
            <a:pPr lvl="1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973589-D7A3-4E48-9768-F99FED6B62B0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84185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å noen ord om legevakt og helsehus, som er nevnt tidligere i kveld.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i Drammen Helsepark kan bidra! </a:t>
            </a: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har regulert inn legevakt og helsehus basert på Drammen kommunes ønske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og i tråd med politiske vedtak i Drammen kommune tilbake til 2018.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gg nr. 2 er skissert eksklusivt for den nye legevakta og helsehus med 105 sengeplasser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årt ønske er at legevakt og helsehus kan stå klart samtidig med sykehusets åpning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g vet at vi har tilbudt Drammen kommune en leieavtale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nken er at Drammen kan leie lokalene fram til og om kommunen selv vil overta eiendommen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 kjøp kan eventuelt gjøres når det passer kommunen best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ne løsningen vil være lite kapitalkrevende </a:t>
            </a:r>
            <a:r>
              <a:rPr lang="nb-NO" u="sng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ntil</a:t>
            </a: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ommunen eventuelt velger å kjøpe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dskapet er at vi er løsningsorienterte!  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973589-D7A3-4E48-9768-F99FED6B62B0}" type="slidenum">
              <a:rPr lang="nb-NO" smtClean="0"/>
              <a:t>5</a:t>
            </a:fld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112FD6D-F2B1-40EA-AE6F-BCF4B991D0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815783"/>
            <a:ext cx="6633909" cy="1105752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48A024FB-6C28-4E33-9690-4B5BF34FFA8A}"/>
              </a:ext>
            </a:extLst>
          </p:cNvPr>
          <p:cNvSpPr txBox="1"/>
          <p:nvPr/>
        </p:nvSpPr>
        <p:spPr>
          <a:xfrm>
            <a:off x="1267085" y="1571394"/>
            <a:ext cx="1012253" cy="458859"/>
          </a:xfrm>
          <a:prstGeom prst="rect">
            <a:avLst/>
          </a:prstGeom>
          <a:noFill/>
        </p:spPr>
        <p:txBody>
          <a:bodyPr wrap="square" lIns="90763" tIns="45382" rIns="90763" bIns="45382" rtlCol="0">
            <a:spAutoFit/>
          </a:bodyPr>
          <a:lstStyle/>
          <a:p>
            <a:r>
              <a:rPr lang="nb-NO" sz="1200" dirty="0"/>
              <a:t>Legevakt og helsehus</a:t>
            </a:r>
          </a:p>
        </p:txBody>
      </p:sp>
    </p:spTree>
    <p:extLst>
      <p:ext uri="{BB962C8B-B14F-4D97-AF65-F5344CB8AC3E}">
        <p14:creationId xmlns:p14="http://schemas.microsoft.com/office/powerpoint/2010/main" val="28860216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ykehus med direkte kobling til legevakt og helsehus er pasientsmart: </a:t>
            </a:r>
          </a:p>
          <a:p>
            <a:endParaRPr lang="nb-NO" dirty="0"/>
          </a:p>
          <a:p>
            <a:pPr marL="170181" indent="-170181">
              <a:buFont typeface="Courier New" panose="02070309020205020404" pitchFamily="49" charset="0"/>
              <a:buChar char="o"/>
            </a:pPr>
            <a:r>
              <a:rPr lang="nb-NO" dirty="0"/>
              <a:t>Det gir økt trygghet for pasientene. </a:t>
            </a:r>
          </a:p>
          <a:p>
            <a:endParaRPr lang="nb-NO" dirty="0"/>
          </a:p>
          <a:p>
            <a:pPr marL="170181" indent="-170181">
              <a:buFont typeface="Courier New" panose="02070309020205020404" pitchFamily="49" charset="0"/>
              <a:buChar char="o"/>
            </a:pPr>
            <a:r>
              <a:rPr lang="nb-NO" dirty="0"/>
              <a:t>Overføring av pasienter vil skje skånsomt.</a:t>
            </a:r>
          </a:p>
          <a:p>
            <a:endParaRPr lang="nb-NO" dirty="0"/>
          </a:p>
          <a:p>
            <a:pPr marL="170181" indent="-170181">
              <a:buFont typeface="Courier New" panose="02070309020205020404" pitchFamily="49" charset="0"/>
              <a:buChar char="o"/>
            </a:pPr>
            <a:r>
              <a:rPr lang="nb-NO" dirty="0"/>
              <a:t>Driftskostnader vil reduseres. </a:t>
            </a:r>
          </a:p>
          <a:p>
            <a:endParaRPr lang="nb-NO" dirty="0"/>
          </a:p>
          <a:p>
            <a:pPr marL="170181" indent="-170181">
              <a:buFont typeface="Courier New" panose="02070309020205020404" pitchFamily="49" charset="0"/>
              <a:buChar char="o"/>
            </a:pPr>
            <a:r>
              <a:rPr lang="nb-NO" dirty="0"/>
              <a:t>Behov for ambulanse reduseres. </a:t>
            </a:r>
          </a:p>
          <a:p>
            <a:endParaRPr lang="nb-NO" dirty="0"/>
          </a:p>
          <a:p>
            <a:pPr marL="170181" indent="-170181">
              <a:buFont typeface="Courier New" panose="02070309020205020404" pitchFamily="49" charset="0"/>
              <a:buChar char="o"/>
            </a:pPr>
            <a:r>
              <a:rPr lang="nb-NO" dirty="0"/>
              <a:t>Rekruttering til kommunale helsestillinger vil tjene på nærheten med det nye sykehuset.</a:t>
            </a:r>
          </a:p>
          <a:p>
            <a:endParaRPr lang="nb-NO" dirty="0"/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Drammen Helsepark AS er det selvsagt ønskelig om legevakt og helsehus er på plass fra første dag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tror det også er til det beste for pasientene.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m sagt vi vil bygge opp en helseklynge med et variert helsetilbud. Vi tror på synergiene mellom sykehus og andre offentlige og private aktører.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973589-D7A3-4E48-9768-F99FED6B62B0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02176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har en unik mulighet. 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er kanskje akkurat nå i Norges beste posisjon for å oppfylle helsemeldingen – Stortingsmelding 18 (2018)  – om helsenæringen «Sammen om verdiskapning og bedre tjenester».</a:t>
            </a:r>
          </a:p>
          <a:p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som vi samarbeider – kan vi sammen skape et utstillingsvindu for helsenæringen: «</a:t>
            </a:r>
            <a:r>
              <a:rPr lang="nb-NO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ok</a:t>
            </a:r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o Fjordbyen».</a:t>
            </a:r>
          </a:p>
          <a:p>
            <a:endParaRPr lang="nb-NO" b="1" dirty="0"/>
          </a:p>
          <a:p>
            <a:pPr defTabSz="453817">
              <a:defRPr/>
            </a:pPr>
            <a:r>
              <a:rPr lang="nb-NO" dirty="0"/>
              <a:t>Som det står i helsemeldingen: </a:t>
            </a:r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r>
              <a:rPr lang="nb-NO" dirty="0"/>
              <a:t>«Når nye sykehus skal planlegges, vil det være viktig å legge til rette for innovasjon og samhandling. Dette kan gjøres både gjennom fysisk samlokalisering og gjennom utforming av byggene». </a:t>
            </a:r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r>
              <a:rPr lang="nb-NO" dirty="0"/>
              <a:t>Helseparken blir en samhandlingsarena for helsenæringen i regionen.</a:t>
            </a:r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r>
              <a:rPr lang="nb-NO" dirty="0"/>
              <a:t>Og videre (fra meldingen): </a:t>
            </a:r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r>
              <a:rPr lang="nb-NO" dirty="0"/>
              <a:t>«Fysisk samlokalisering har flere fordeler, hvor blant annet den daglige interaksjonen mellom aktørene kan legge til rette for en gjensidig læring og ideutveksling som ellers ikke ville ha skjedd». </a:t>
            </a:r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r>
              <a:rPr lang="nb-NO" dirty="0"/>
              <a:t>Vi tror på møter mellom folk, på nærhet og at folk blir kjent med hverandre. Og i møter mellom folk skjer det spennende ting!</a:t>
            </a:r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3817">
              <a:defRPr/>
            </a:pPr>
            <a:fld id="{F30E7603-BFCA-4F40-986F-E4A07A9CCC8C}" type="slidenum">
              <a:rPr lang="nb-NO">
                <a:solidFill>
                  <a:prstClr val="black"/>
                </a:solidFill>
                <a:latin typeface="Calibri"/>
              </a:rPr>
              <a:pPr defTabSz="453817">
                <a:defRPr/>
              </a:pPr>
              <a:t>7</a:t>
            </a:fld>
            <a:endParaRPr lang="nb-NO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967780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/>
              <a:t>Oppsummert:</a:t>
            </a:r>
          </a:p>
          <a:p>
            <a:endParaRPr lang="nb-NO" b="1" dirty="0"/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ammen Helsepark har en unik plassering – rett ved siden av det nyeste sykehuset i Vestre Viken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er regulert sammen med sykehuset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 har jobbet sammen om planene og løsningene.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av brikkene sitter dere som er lokalpolitikere på: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 brikken heter legevakt og helsehus.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 kan vi etablere ny legevakt og helsehus samtidig som det nye sykehuset åpner.  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ørst og fremst til det aller beste for innbyggerne, for pasientene, for liv og helse og offentlig ressursbruk.</a:t>
            </a:r>
          </a:p>
          <a:p>
            <a:pPr lvl="0"/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/>
            <a:r>
              <a:rPr lang="nb-N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KK FOR OPPMERKSOMHETEN!</a:t>
            </a:r>
          </a:p>
          <a:p>
            <a:endParaRPr lang="nb-NO" b="1" dirty="0"/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endParaRPr lang="nb-NO" dirty="0"/>
          </a:p>
          <a:p>
            <a:pPr defTabSz="453817"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3817">
              <a:defRPr/>
            </a:pPr>
            <a:fld id="{F30E7603-BFCA-4F40-986F-E4A07A9CCC8C}" type="slidenum">
              <a:rPr lang="nb-NO">
                <a:solidFill>
                  <a:prstClr val="black"/>
                </a:solidFill>
                <a:latin typeface="Calibri"/>
              </a:rPr>
              <a:pPr defTabSz="453817">
                <a:defRPr/>
              </a:pPr>
              <a:t>8</a:t>
            </a:fld>
            <a:endParaRPr lang="nb-NO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94742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8250518-9AE7-4C33-9FA0-8962CE87E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111DA02-B95A-4461-823B-C3EE4172269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35DE2C3-456B-4745-BD26-15CE11D6B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DADDBEA-3634-4AEA-9096-04E73D4D02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131B1AA-7D16-4DDA-BAC6-E6C205B646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39446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EABD942-C451-4015-BD48-276AE0DAC0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846099BF-2D92-401D-9836-3641F16531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33971FC-796A-47AC-9FEB-511735AAC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615849E-3264-4804-A5F6-A1DA8E27F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4D4F0B4-E998-43B1-9F79-D0F8431A4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3728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B32134D5-1DD9-4F2C-B025-136B46BD76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7A527B15-1998-409F-B128-DA1E95971A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2961144-B7CC-4A07-96FC-7DCAA572C9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03BDABE-AB6C-45A4-8E3A-887B4822A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51E4A19-9FDE-468F-A457-9BCB6A435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7217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ED0F6DC1-763B-41A2-9911-E4BA837472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1060" y="1630595"/>
            <a:ext cx="8256000" cy="1008000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defRPr sz="3467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13B226E-626D-4DDC-A7AF-D5EA631752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8123" y="2913024"/>
            <a:ext cx="5664000" cy="6240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1"/>
                </a:solidFill>
              </a:defRPr>
            </a:lvl1pPr>
            <a:lvl2pPr marL="456979" indent="0" algn="ctr">
              <a:buNone/>
              <a:defRPr sz="2000"/>
            </a:lvl2pPr>
            <a:lvl3pPr marL="913958" indent="0" algn="ctr">
              <a:buNone/>
              <a:defRPr sz="1733"/>
            </a:lvl3pPr>
            <a:lvl4pPr marL="1370936" indent="0" algn="ctr">
              <a:buNone/>
              <a:defRPr sz="1600"/>
            </a:lvl4pPr>
            <a:lvl5pPr marL="1827917" indent="0" algn="ctr">
              <a:buNone/>
              <a:defRPr sz="1600"/>
            </a:lvl5pPr>
            <a:lvl6pPr marL="2284895" indent="0" algn="ctr">
              <a:buNone/>
              <a:defRPr sz="1600"/>
            </a:lvl6pPr>
            <a:lvl7pPr marL="2741874" indent="0" algn="ctr">
              <a:buNone/>
              <a:defRPr sz="1600"/>
            </a:lvl7pPr>
            <a:lvl8pPr marL="3198853" indent="0" algn="ctr">
              <a:buNone/>
              <a:defRPr sz="1600"/>
            </a:lvl8pPr>
            <a:lvl9pPr marL="365583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0" name="Plassholder for innhold 24">
            <a:extLst>
              <a:ext uri="{FF2B5EF4-FFF2-40B4-BE49-F238E27FC236}">
                <a16:creationId xmlns:a16="http://schemas.microsoft.com/office/drawing/2014/main" id="{36A49588-2C3C-436E-90A8-AF1A8C5B92C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65" y="5862101"/>
            <a:ext cx="3264000" cy="460800"/>
          </a:xfrm>
          <a:noFill/>
        </p:spPr>
        <p:txBody>
          <a:bodyPr vert="horz" lIns="0" tIns="0" rIns="0" bIns="0" rtlCol="0" anchor="b">
            <a:normAutofit/>
          </a:bodyPr>
          <a:lstStyle>
            <a:lvl1pPr>
              <a:defRPr lang="nb-NO" sz="1200" dirty="0">
                <a:solidFill>
                  <a:schemeClr val="accent6"/>
                </a:solidFill>
              </a:defRPr>
            </a:lvl1pPr>
          </a:lstStyle>
          <a:p>
            <a:pPr marL="0" lvl="0" indent="0">
              <a:spcBef>
                <a:spcPts val="533"/>
              </a:spcBef>
              <a:buNone/>
            </a:pPr>
            <a:r>
              <a:rPr lang="nb-NO"/>
              <a:t>Rediger tekststiler i malen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0AC50538-BF3D-4DCC-A52B-6E4A005C19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472" y="163243"/>
            <a:ext cx="6458528" cy="6532800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4" y="571436"/>
            <a:ext cx="1814400" cy="47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133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2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>
            <a:extLst>
              <a:ext uri="{FF2B5EF4-FFF2-40B4-BE49-F238E27FC236}">
                <a16:creationId xmlns:a16="http://schemas.microsoft.com/office/drawing/2014/main" id="{4D990928-4B06-4AE1-9A8B-CEE5590F89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453" y="163243"/>
            <a:ext cx="6458547" cy="65328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B8FF0B0-1F9A-41EA-93EB-A911B1607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1060" y="1630595"/>
            <a:ext cx="8256000" cy="1008000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defRPr sz="3467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B7527FF-5EE8-4594-A01F-3132173135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8123" y="2913024"/>
            <a:ext cx="5664000" cy="6240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1"/>
                </a:solidFill>
              </a:defRPr>
            </a:lvl1pPr>
            <a:lvl2pPr marL="456979" indent="0" algn="ctr">
              <a:buNone/>
              <a:defRPr sz="2000"/>
            </a:lvl2pPr>
            <a:lvl3pPr marL="913958" indent="0" algn="ctr">
              <a:buNone/>
              <a:defRPr sz="1733"/>
            </a:lvl3pPr>
            <a:lvl4pPr marL="1370936" indent="0" algn="ctr">
              <a:buNone/>
              <a:defRPr sz="1600"/>
            </a:lvl4pPr>
            <a:lvl5pPr marL="1827917" indent="0" algn="ctr">
              <a:buNone/>
              <a:defRPr sz="1600"/>
            </a:lvl5pPr>
            <a:lvl6pPr marL="2284895" indent="0" algn="ctr">
              <a:buNone/>
              <a:defRPr sz="1600"/>
            </a:lvl6pPr>
            <a:lvl7pPr marL="2741874" indent="0" algn="ctr">
              <a:buNone/>
              <a:defRPr sz="1600"/>
            </a:lvl7pPr>
            <a:lvl8pPr marL="3198853" indent="0" algn="ctr">
              <a:buNone/>
              <a:defRPr sz="1600"/>
            </a:lvl8pPr>
            <a:lvl9pPr marL="365583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6" name="Plassholder for innhold 24">
            <a:extLst>
              <a:ext uri="{FF2B5EF4-FFF2-40B4-BE49-F238E27FC236}">
                <a16:creationId xmlns:a16="http://schemas.microsoft.com/office/drawing/2014/main" id="{85AEA246-1E52-4061-8A5A-FCB015823BF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65" y="5859873"/>
            <a:ext cx="3264000" cy="459316"/>
          </a:xfrm>
        </p:spPr>
        <p:txBody>
          <a:bodyPr anchor="b">
            <a:normAutofit/>
          </a:bodyPr>
          <a:lstStyle>
            <a:lvl1pPr marL="0" indent="0">
              <a:spcBef>
                <a:spcPts val="533"/>
              </a:spcBef>
              <a:buNone/>
              <a:defRPr sz="1200">
                <a:solidFill>
                  <a:schemeClr val="accent6"/>
                </a:solidFill>
              </a:defRPr>
            </a:lvl1pPr>
            <a:lvl2pPr marL="443494" indent="0">
              <a:buNone/>
              <a:defRPr sz="1333">
                <a:solidFill>
                  <a:schemeClr val="accent2"/>
                </a:solidFill>
              </a:defRPr>
            </a:lvl2pPr>
            <a:lvl3pPr marL="712288" indent="0">
              <a:buNone/>
              <a:defRPr sz="1333">
                <a:solidFill>
                  <a:schemeClr val="accent2"/>
                </a:solidFill>
              </a:defRPr>
            </a:lvl3pPr>
            <a:lvl4pPr marL="1370938" indent="0">
              <a:buNone/>
              <a:defRPr sz="1200">
                <a:solidFill>
                  <a:schemeClr val="accent2"/>
                </a:solidFill>
              </a:defRPr>
            </a:lvl4pPr>
            <a:lvl5pPr marL="1827917" indent="0">
              <a:buNone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4" y="571436"/>
            <a:ext cx="1814400" cy="47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0678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3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21F4C8FE-5DCF-4E3C-87EA-91842BCA89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777" y="163243"/>
            <a:ext cx="6458527" cy="65328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A7D8795-BFAD-4CB3-9A0A-BC9AB99B0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1060" y="1630595"/>
            <a:ext cx="8256000" cy="1008000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defRPr sz="3467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12632CB-7FBF-4602-802A-0D2839B322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8123" y="2913024"/>
            <a:ext cx="5664000" cy="6240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1"/>
                </a:solidFill>
              </a:defRPr>
            </a:lvl1pPr>
            <a:lvl2pPr marL="456979" indent="0" algn="ctr">
              <a:buNone/>
              <a:defRPr sz="2000"/>
            </a:lvl2pPr>
            <a:lvl3pPr marL="913958" indent="0" algn="ctr">
              <a:buNone/>
              <a:defRPr sz="1733"/>
            </a:lvl3pPr>
            <a:lvl4pPr marL="1370936" indent="0" algn="ctr">
              <a:buNone/>
              <a:defRPr sz="1600"/>
            </a:lvl4pPr>
            <a:lvl5pPr marL="1827917" indent="0" algn="ctr">
              <a:buNone/>
              <a:defRPr sz="1600"/>
            </a:lvl5pPr>
            <a:lvl6pPr marL="2284895" indent="0" algn="ctr">
              <a:buNone/>
              <a:defRPr sz="1600"/>
            </a:lvl6pPr>
            <a:lvl7pPr marL="2741874" indent="0" algn="ctr">
              <a:buNone/>
              <a:defRPr sz="1600"/>
            </a:lvl7pPr>
            <a:lvl8pPr marL="3198853" indent="0" algn="ctr">
              <a:buNone/>
              <a:defRPr sz="1600"/>
            </a:lvl8pPr>
            <a:lvl9pPr marL="365583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1" name="Plassholder for innhold 24">
            <a:extLst>
              <a:ext uri="{FF2B5EF4-FFF2-40B4-BE49-F238E27FC236}">
                <a16:creationId xmlns:a16="http://schemas.microsoft.com/office/drawing/2014/main" id="{6EBD716D-1EDA-4BF4-92D1-793636ED202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65" y="5859873"/>
            <a:ext cx="3264000" cy="459316"/>
          </a:xfrm>
        </p:spPr>
        <p:txBody>
          <a:bodyPr anchor="b">
            <a:normAutofit/>
          </a:bodyPr>
          <a:lstStyle>
            <a:lvl1pPr marL="0" indent="0">
              <a:spcBef>
                <a:spcPts val="533"/>
              </a:spcBef>
              <a:buNone/>
              <a:defRPr sz="1200">
                <a:solidFill>
                  <a:schemeClr val="accent6"/>
                </a:solidFill>
              </a:defRPr>
            </a:lvl1pPr>
            <a:lvl2pPr marL="443494" indent="0">
              <a:buNone/>
              <a:defRPr sz="1333">
                <a:solidFill>
                  <a:schemeClr val="accent2"/>
                </a:solidFill>
              </a:defRPr>
            </a:lvl2pPr>
            <a:lvl3pPr marL="712288" indent="0">
              <a:buNone/>
              <a:defRPr sz="1333">
                <a:solidFill>
                  <a:schemeClr val="accent2"/>
                </a:solidFill>
              </a:defRPr>
            </a:lvl3pPr>
            <a:lvl4pPr marL="1370938" indent="0">
              <a:buNone/>
              <a:defRPr sz="1200">
                <a:solidFill>
                  <a:schemeClr val="accent2"/>
                </a:solidFill>
              </a:defRPr>
            </a:lvl4pPr>
            <a:lvl5pPr marL="1827917" indent="0">
              <a:buNone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4" y="571436"/>
            <a:ext cx="1814400" cy="47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344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nhold/oppsummer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3807"/>
            <a:ext cx="12201600" cy="48521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7344" y="349529"/>
            <a:ext cx="10224000" cy="816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Agenda / innhold / oppsummering – klikk for å rediger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1463" y="1728137"/>
            <a:ext cx="7152000" cy="4056000"/>
          </a:xfrm>
          <a:noFill/>
        </p:spPr>
        <p:txBody>
          <a:bodyPr vert="horz" lIns="0" tIns="0" rIns="0" bIns="0" rtlCol="0">
            <a:norm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28598-DC13-4927-8029-6764C60027AB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277382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1463" y="1359784"/>
            <a:ext cx="10176000" cy="465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28598-DC13-4927-8029-6764C60027AB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992264" y="348503"/>
            <a:ext cx="10224000" cy="816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87174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1463" y="1366225"/>
            <a:ext cx="5001600" cy="465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28598-DC13-4927-8029-6764C60027AB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6166044" y="1368703"/>
            <a:ext cx="5001600" cy="465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992264" y="348503"/>
            <a:ext cx="10224000" cy="816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20010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02895" y="1365989"/>
            <a:ext cx="5001600" cy="465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54428" y="1431635"/>
            <a:ext cx="6048000" cy="4857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92264" y="348503"/>
            <a:ext cx="10224000" cy="816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34930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1 bilde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04276" y="1361441"/>
            <a:ext cx="10190801" cy="1871801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8056" y="3434927"/>
            <a:ext cx="12201600" cy="2851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8596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E389848-C44F-4E71-B460-3857AA108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5E6FEAD-81B4-4445-A115-8A8DD03180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F8773AC-0E1C-41DB-8B38-891F7C7D53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E5666D8-1E48-44AD-8B9A-E8BA07AD2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205BCFF-DE93-4E8D-87EC-AE21CDD3D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2536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2 bild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02893" y="1359784"/>
            <a:ext cx="10200000" cy="1872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56360" y="3434927"/>
            <a:ext cx="6048000" cy="2851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6200" y="3434927"/>
            <a:ext cx="6048000" cy="2851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019556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3 bild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02893" y="1359784"/>
            <a:ext cx="10200000" cy="1872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143997" y="3434069"/>
            <a:ext cx="3052800" cy="28512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5713" y="3434069"/>
            <a:ext cx="3052800" cy="28512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143879" y="3434069"/>
            <a:ext cx="5899200" cy="28512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1688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1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8459" y="1430867"/>
            <a:ext cx="12200460" cy="4857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22463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54082" y="1430867"/>
            <a:ext cx="6049543" cy="4857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8459" y="1430867"/>
            <a:ext cx="6054913" cy="4857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56208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10601" y="1"/>
            <a:ext cx="12201600" cy="6288000"/>
          </a:xfrm>
          <a:noFill/>
        </p:spPr>
        <p:txBody>
          <a:bodyPr bIns="512423" anchor="ctr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Klikk ikonet for å sette inn ett bild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1D58555-C89C-4453-9FFC-71450F2E847A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91889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-8061" y="-1"/>
            <a:ext cx="12201600" cy="6297600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2" name="Media Placeholder 1"/>
          <p:cNvSpPr>
            <a:spLocks noGrp="1"/>
          </p:cNvSpPr>
          <p:nvPr>
            <p:ph type="media" sz="quarter" idx="14" hasCustomPrompt="1"/>
          </p:nvPr>
        </p:nvSpPr>
        <p:spPr>
          <a:xfrm>
            <a:off x="-15047" y="9677"/>
            <a:ext cx="12201600" cy="6288000"/>
          </a:xfrm>
          <a:prstGeom prst="rect">
            <a:avLst/>
          </a:prstGeom>
          <a:noFill/>
        </p:spPr>
        <p:txBody>
          <a:bodyPr lIns="0" tIns="0" rIns="0" bIns="512423" anchor="ctr"/>
          <a:lstStyle>
            <a:lvl1pPr marL="0" indent="0" algn="ctr">
              <a:buNone/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Klikk ikonet for å sette inn video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A520A0D-11C2-4694-8182-803A8C168D34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43141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visuel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 userDrawn="1"/>
        </p:nvSpPr>
        <p:spPr>
          <a:xfrm>
            <a:off x="0" y="1420135"/>
            <a:ext cx="12192000" cy="4868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89E5D-289A-4C61-9F93-D00ED100988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innhold 6"/>
          <p:cNvSpPr>
            <a:spLocks noGrp="1"/>
          </p:cNvSpPr>
          <p:nvPr>
            <p:ph sz="quarter" idx="14" hasCustomPrompt="1"/>
          </p:nvPr>
        </p:nvSpPr>
        <p:spPr>
          <a:xfrm>
            <a:off x="1012060" y="1727200"/>
            <a:ext cx="10165469" cy="4274072"/>
          </a:xfrm>
          <a:ln w="3175"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 dirty="0"/>
              <a:t>Klikk et ikon for å sette inn tabell, illustrasjon, graf, etc.</a:t>
            </a:r>
          </a:p>
        </p:txBody>
      </p:sp>
    </p:spTree>
    <p:extLst>
      <p:ext uri="{BB962C8B-B14F-4D97-AF65-F5344CB8AC3E}">
        <p14:creationId xmlns:p14="http://schemas.microsoft.com/office/powerpoint/2010/main" val="3504972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09635887-A948-47F3-BD76-0DB3562A43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416" y="87059"/>
            <a:ext cx="6456000" cy="653024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BD52492-A102-430B-AE6A-944739D8F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791" y="3373755"/>
            <a:ext cx="7200000" cy="1488000"/>
          </a:xfrm>
        </p:spPr>
        <p:txBody>
          <a:bodyPr anchor="t">
            <a:normAutofit/>
          </a:bodyPr>
          <a:lstStyle>
            <a:lvl1pPr>
              <a:defRPr sz="3467" baseline="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371CBE89-464D-494D-94C3-CADE19C4E2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3596" y="6441265"/>
            <a:ext cx="765525" cy="192000"/>
          </a:xfrm>
        </p:spPr>
        <p:txBody>
          <a:bodyPr/>
          <a:lstStyle/>
          <a:p>
            <a:fld id="{19ABB3DC-4EBC-42C9-801A-674BA57E19DD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4043" y="6439800"/>
            <a:ext cx="6816000" cy="19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>
              <a:defRPr sz="1067">
                <a:solidFill>
                  <a:schemeClr val="accent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059" y="6441845"/>
            <a:ext cx="250503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 b="0">
                <a:solidFill>
                  <a:schemeClr val="accent2"/>
                </a:solidFill>
              </a:defRPr>
            </a:lvl1pPr>
          </a:lstStyle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4725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>
            <a:extLst>
              <a:ext uri="{FF2B5EF4-FFF2-40B4-BE49-F238E27FC236}">
                <a16:creationId xmlns:a16="http://schemas.microsoft.com/office/drawing/2014/main" id="{1EA82EB2-03A4-40BE-B772-66AD57CB76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416" y="86005"/>
            <a:ext cx="6456000" cy="653024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95B81FB0-156C-4622-922F-9D6ABCFC7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791" y="3373755"/>
            <a:ext cx="7200000" cy="1488000"/>
          </a:xfrm>
        </p:spPr>
        <p:txBody>
          <a:bodyPr anchor="t">
            <a:normAutofit/>
          </a:bodyPr>
          <a:lstStyle>
            <a:lvl1pPr>
              <a:defRPr sz="3467" baseline="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8ADA884C-E32B-4F3D-94F9-85DEEDFBC6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3596" y="6441265"/>
            <a:ext cx="765525" cy="192000"/>
          </a:xfrm>
        </p:spPr>
        <p:txBody>
          <a:bodyPr/>
          <a:lstStyle/>
          <a:p>
            <a:fld id="{19ABB3DC-4EBC-42C9-801A-674BA57E19DD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4043" y="6439800"/>
            <a:ext cx="6816000" cy="19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>
              <a:defRPr sz="1067">
                <a:solidFill>
                  <a:schemeClr val="accent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059" y="6441845"/>
            <a:ext cx="250503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 b="0">
                <a:solidFill>
                  <a:schemeClr val="accent2"/>
                </a:solidFill>
              </a:defRPr>
            </a:lvl1pPr>
          </a:lstStyle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43960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12A88AE-1AC2-465C-BEC7-4BB6D0128F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416" y="86003"/>
            <a:ext cx="6456000" cy="653024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A164699-DED0-4B59-9F25-3EBA92C88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791" y="3373755"/>
            <a:ext cx="7200000" cy="1488000"/>
          </a:xfrm>
        </p:spPr>
        <p:txBody>
          <a:bodyPr anchor="t">
            <a:normAutofit/>
          </a:bodyPr>
          <a:lstStyle>
            <a:lvl1pPr>
              <a:defRPr sz="3467" baseline="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F9B6AF68-A525-497B-8E8B-E4BBD98D0F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3596" y="6441265"/>
            <a:ext cx="765525" cy="192000"/>
          </a:xfrm>
        </p:spPr>
        <p:txBody>
          <a:bodyPr/>
          <a:lstStyle/>
          <a:p>
            <a:fld id="{19ABB3DC-4EBC-42C9-801A-674BA57E19DD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4043" y="6439800"/>
            <a:ext cx="6816000" cy="19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>
              <a:defRPr sz="1067">
                <a:solidFill>
                  <a:schemeClr val="accent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059" y="6441845"/>
            <a:ext cx="250503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 b="0">
                <a:solidFill>
                  <a:schemeClr val="accent2"/>
                </a:solidFill>
              </a:defRPr>
            </a:lvl1pPr>
          </a:lstStyle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3488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3230EA0-25CD-45C0-AF69-E7CFD8EAC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A353FAC-A6D9-4295-B3D4-4E4824A231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800922-7121-41D3-822B-DEB4A51CF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5D5CDD8-277E-44FE-9883-FC7E961AF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181330A-EB89-4129-88A0-99BB4D195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3158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284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99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01" y="1601670"/>
            <a:ext cx="5121391" cy="4719607"/>
          </a:xfrm>
        </p:spPr>
        <p:txBody>
          <a:bodyPr/>
          <a:lstStyle>
            <a:lvl1pPr marL="228466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00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333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267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201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69F5E7-C42D-4E43-B11D-A29EDC0D4394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138717" y="1601669"/>
            <a:ext cx="5053284" cy="4124787"/>
          </a:xfrm>
        </p:spPr>
        <p:txBody>
          <a:bodyPr/>
          <a:lstStyle>
            <a:lvl1pPr marL="228466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0462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1261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523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99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01" y="1601670"/>
            <a:ext cx="5121391" cy="4719607"/>
          </a:xfrm>
        </p:spPr>
        <p:txBody>
          <a:bodyPr/>
          <a:lstStyle>
            <a:lvl1pPr marL="228466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00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333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267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201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69F5E7-C42D-4E43-B11D-A29EDC0D4394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138717" y="1601669"/>
            <a:ext cx="5053284" cy="4124787"/>
          </a:xfrm>
        </p:spPr>
        <p:txBody>
          <a:bodyPr/>
          <a:lstStyle>
            <a:lvl1pPr marL="228466" indent="-228466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211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28598-DC13-4927-8029-6764C60027AB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64756" y="6321278"/>
            <a:ext cx="5455563" cy="365124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87310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01" y="1601670"/>
            <a:ext cx="5121391" cy="4719607"/>
          </a:xfrm>
        </p:spPr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69F5E7-C42D-4E43-B11D-A29EDC0D4394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138717" y="1601669"/>
            <a:ext cx="5053284" cy="4124787"/>
          </a:xfrm>
        </p:spPr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8147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712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3038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144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C768CBD-776D-40DA-96F0-0B6C8E191D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ECBDDCF-8729-4808-8273-2A741D44FD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89CD470-3020-462F-A1A3-C121E5FEF5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8773AF01-4969-4C8A-921F-508D30A100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C19D604-5A24-4BE4-85B6-E84DC8C805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531FB588-F0BC-4F0D-9A37-646DEF0AE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66133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514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740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778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3969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445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759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38201" y="1601670"/>
            <a:ext cx="5121391" cy="4719607"/>
          </a:xfrm>
        </p:spPr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69F5E7-C42D-4E43-B11D-A29EDC0D4394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138717" y="1601669"/>
            <a:ext cx="5053284" cy="4124787"/>
          </a:xfrm>
        </p:spPr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8302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7427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28489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1pPr>
            <a:lvl2pPr marL="685470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2pPr>
            <a:lvl3pPr marL="114244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3pPr>
            <a:lvl4pPr marL="1599427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4pPr>
            <a:lvl5pPr marL="2056406" indent="-228489">
              <a:buClr>
                <a:srgbClr val="002060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A9593C-F1DC-4E6E-89E7-A4E21481D29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10258928" y="159666"/>
            <a:ext cx="1422029" cy="52058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 dirty="0"/>
              <a:t>Veivis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1598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1">
          <p15:clr>
            <a:srgbClr val="FBAE40"/>
          </p15:clr>
        </p15:guide>
        <p15:guide id="3" pos="53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4651225-1283-4E4E-A407-74C4504758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3AE73-0822-4F81-8333-6197D7C53B98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5554511F-3C88-4FC1-A7D6-B1653C78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3EF81E6-FBBD-4533-A9F3-3E120154D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6464A1-BD61-4647-900C-B89FA7A2A53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32430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B55B259-2C86-4182-85E5-F4D8C784E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789C7BF-5F0A-4581-9CF2-EA8A9A46A1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EC03B2B-7E52-46D7-AC3B-355A7CF27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1E72AF97-7395-452D-86FB-027DC79D1E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E5773A22-D14B-4912-9127-DBD2836A8F9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8BEF35BA-C8E2-4814-9D51-E1187DF1F9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56A17159-D349-4682-AA1F-C1B4B29A5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E329E16E-1C4C-44CF-BBF9-21ACAC57A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15232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ED0F6DC1-763B-41A2-9911-E4BA837472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1060" y="1630595"/>
            <a:ext cx="8256000" cy="1008000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defRPr sz="3467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13B226E-626D-4DDC-A7AF-D5EA631752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8123" y="2913024"/>
            <a:ext cx="5664000" cy="6240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1"/>
                </a:solidFill>
              </a:defRPr>
            </a:lvl1pPr>
            <a:lvl2pPr marL="456979" indent="0" algn="ctr">
              <a:buNone/>
              <a:defRPr sz="2000"/>
            </a:lvl2pPr>
            <a:lvl3pPr marL="913958" indent="0" algn="ctr">
              <a:buNone/>
              <a:defRPr sz="1733"/>
            </a:lvl3pPr>
            <a:lvl4pPr marL="1370936" indent="0" algn="ctr">
              <a:buNone/>
              <a:defRPr sz="1600"/>
            </a:lvl4pPr>
            <a:lvl5pPr marL="1827917" indent="0" algn="ctr">
              <a:buNone/>
              <a:defRPr sz="1600"/>
            </a:lvl5pPr>
            <a:lvl6pPr marL="2284895" indent="0" algn="ctr">
              <a:buNone/>
              <a:defRPr sz="1600"/>
            </a:lvl6pPr>
            <a:lvl7pPr marL="2741874" indent="0" algn="ctr">
              <a:buNone/>
              <a:defRPr sz="1600"/>
            </a:lvl7pPr>
            <a:lvl8pPr marL="3198853" indent="0" algn="ctr">
              <a:buNone/>
              <a:defRPr sz="1600"/>
            </a:lvl8pPr>
            <a:lvl9pPr marL="365583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0" name="Plassholder for innhold 24">
            <a:extLst>
              <a:ext uri="{FF2B5EF4-FFF2-40B4-BE49-F238E27FC236}">
                <a16:creationId xmlns:a16="http://schemas.microsoft.com/office/drawing/2014/main" id="{36A49588-2C3C-436E-90A8-AF1A8C5B92C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65" y="5862101"/>
            <a:ext cx="3264000" cy="460800"/>
          </a:xfrm>
          <a:noFill/>
        </p:spPr>
        <p:txBody>
          <a:bodyPr vert="horz" lIns="0" tIns="0" rIns="0" bIns="0" rtlCol="0" anchor="b">
            <a:normAutofit/>
          </a:bodyPr>
          <a:lstStyle>
            <a:lvl1pPr>
              <a:defRPr lang="nb-NO" sz="1200" dirty="0">
                <a:solidFill>
                  <a:schemeClr val="accent6"/>
                </a:solidFill>
              </a:defRPr>
            </a:lvl1pPr>
          </a:lstStyle>
          <a:p>
            <a:pPr marL="0" lvl="0" indent="0">
              <a:spcBef>
                <a:spcPts val="533"/>
              </a:spcBef>
              <a:buNone/>
            </a:pPr>
            <a:r>
              <a:rPr lang="nb-NO"/>
              <a:t>Rediger tekststiler i malen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0AC50538-BF3D-4DCC-A52B-6E4A005C19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472" y="163243"/>
            <a:ext cx="6458528" cy="6532800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4" y="571436"/>
            <a:ext cx="1814400" cy="47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3084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2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>
            <a:extLst>
              <a:ext uri="{FF2B5EF4-FFF2-40B4-BE49-F238E27FC236}">
                <a16:creationId xmlns:a16="http://schemas.microsoft.com/office/drawing/2014/main" id="{4D990928-4B06-4AE1-9A8B-CEE5590F89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453" y="163243"/>
            <a:ext cx="6458547" cy="6532800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8B8FF0B0-1F9A-41EA-93EB-A911B1607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1060" y="1630595"/>
            <a:ext cx="8256000" cy="1008000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defRPr sz="3467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DB7527FF-5EE8-4594-A01F-3132173135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8123" y="2913024"/>
            <a:ext cx="5664000" cy="6240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1"/>
                </a:solidFill>
              </a:defRPr>
            </a:lvl1pPr>
            <a:lvl2pPr marL="456979" indent="0" algn="ctr">
              <a:buNone/>
              <a:defRPr sz="2000"/>
            </a:lvl2pPr>
            <a:lvl3pPr marL="913958" indent="0" algn="ctr">
              <a:buNone/>
              <a:defRPr sz="1733"/>
            </a:lvl3pPr>
            <a:lvl4pPr marL="1370936" indent="0" algn="ctr">
              <a:buNone/>
              <a:defRPr sz="1600"/>
            </a:lvl4pPr>
            <a:lvl5pPr marL="1827917" indent="0" algn="ctr">
              <a:buNone/>
              <a:defRPr sz="1600"/>
            </a:lvl5pPr>
            <a:lvl6pPr marL="2284895" indent="0" algn="ctr">
              <a:buNone/>
              <a:defRPr sz="1600"/>
            </a:lvl6pPr>
            <a:lvl7pPr marL="2741874" indent="0" algn="ctr">
              <a:buNone/>
              <a:defRPr sz="1600"/>
            </a:lvl7pPr>
            <a:lvl8pPr marL="3198853" indent="0" algn="ctr">
              <a:buNone/>
              <a:defRPr sz="1600"/>
            </a:lvl8pPr>
            <a:lvl9pPr marL="365583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6" name="Plassholder for innhold 24">
            <a:extLst>
              <a:ext uri="{FF2B5EF4-FFF2-40B4-BE49-F238E27FC236}">
                <a16:creationId xmlns:a16="http://schemas.microsoft.com/office/drawing/2014/main" id="{85AEA246-1E52-4061-8A5A-FCB015823BF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65" y="5859873"/>
            <a:ext cx="3264000" cy="459316"/>
          </a:xfrm>
        </p:spPr>
        <p:txBody>
          <a:bodyPr anchor="b">
            <a:normAutofit/>
          </a:bodyPr>
          <a:lstStyle>
            <a:lvl1pPr marL="0" indent="0">
              <a:spcBef>
                <a:spcPts val="533"/>
              </a:spcBef>
              <a:buNone/>
              <a:defRPr sz="1200">
                <a:solidFill>
                  <a:schemeClr val="accent6"/>
                </a:solidFill>
              </a:defRPr>
            </a:lvl1pPr>
            <a:lvl2pPr marL="443494" indent="0">
              <a:buNone/>
              <a:defRPr sz="1333">
                <a:solidFill>
                  <a:schemeClr val="accent2"/>
                </a:solidFill>
              </a:defRPr>
            </a:lvl2pPr>
            <a:lvl3pPr marL="712288" indent="0">
              <a:buNone/>
              <a:defRPr sz="1333">
                <a:solidFill>
                  <a:schemeClr val="accent2"/>
                </a:solidFill>
              </a:defRPr>
            </a:lvl3pPr>
            <a:lvl4pPr marL="1370938" indent="0">
              <a:buNone/>
              <a:defRPr sz="1200">
                <a:solidFill>
                  <a:schemeClr val="accent2"/>
                </a:solidFill>
              </a:defRPr>
            </a:lvl4pPr>
            <a:lvl5pPr marL="1827917" indent="0">
              <a:buNone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4" y="571436"/>
            <a:ext cx="1814400" cy="47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683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3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21F4C8FE-5DCF-4E3C-87EA-91842BCA89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777" y="163243"/>
            <a:ext cx="6458527" cy="65328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EA7D8795-BFAD-4CB3-9A0A-BC9AB99B0A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1060" y="1630595"/>
            <a:ext cx="8256000" cy="1008000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defRPr sz="3467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512632CB-7FBF-4602-802A-0D2839B322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08123" y="2913024"/>
            <a:ext cx="5664000" cy="624000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1"/>
                </a:solidFill>
              </a:defRPr>
            </a:lvl1pPr>
            <a:lvl2pPr marL="456979" indent="0" algn="ctr">
              <a:buNone/>
              <a:defRPr sz="2000"/>
            </a:lvl2pPr>
            <a:lvl3pPr marL="913958" indent="0" algn="ctr">
              <a:buNone/>
              <a:defRPr sz="1733"/>
            </a:lvl3pPr>
            <a:lvl4pPr marL="1370936" indent="0" algn="ctr">
              <a:buNone/>
              <a:defRPr sz="1600"/>
            </a:lvl4pPr>
            <a:lvl5pPr marL="1827917" indent="0" algn="ctr">
              <a:buNone/>
              <a:defRPr sz="1600"/>
            </a:lvl5pPr>
            <a:lvl6pPr marL="2284895" indent="0" algn="ctr">
              <a:buNone/>
              <a:defRPr sz="1600"/>
            </a:lvl6pPr>
            <a:lvl7pPr marL="2741874" indent="0" algn="ctr">
              <a:buNone/>
              <a:defRPr sz="1600"/>
            </a:lvl7pPr>
            <a:lvl8pPr marL="3198853" indent="0" algn="ctr">
              <a:buNone/>
              <a:defRPr sz="1600"/>
            </a:lvl8pPr>
            <a:lvl9pPr marL="365583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1" name="Plassholder for innhold 24">
            <a:extLst>
              <a:ext uri="{FF2B5EF4-FFF2-40B4-BE49-F238E27FC236}">
                <a16:creationId xmlns:a16="http://schemas.microsoft.com/office/drawing/2014/main" id="{6EBD716D-1EDA-4BF4-92D1-793636ED202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11165" y="5859873"/>
            <a:ext cx="3264000" cy="459316"/>
          </a:xfrm>
        </p:spPr>
        <p:txBody>
          <a:bodyPr anchor="b">
            <a:normAutofit/>
          </a:bodyPr>
          <a:lstStyle>
            <a:lvl1pPr marL="0" indent="0">
              <a:spcBef>
                <a:spcPts val="533"/>
              </a:spcBef>
              <a:buNone/>
              <a:defRPr sz="1200">
                <a:solidFill>
                  <a:schemeClr val="accent6"/>
                </a:solidFill>
              </a:defRPr>
            </a:lvl1pPr>
            <a:lvl2pPr marL="443494" indent="0">
              <a:buNone/>
              <a:defRPr sz="1333">
                <a:solidFill>
                  <a:schemeClr val="accent2"/>
                </a:solidFill>
              </a:defRPr>
            </a:lvl2pPr>
            <a:lvl3pPr marL="712288" indent="0">
              <a:buNone/>
              <a:defRPr sz="1333">
                <a:solidFill>
                  <a:schemeClr val="accent2"/>
                </a:solidFill>
              </a:defRPr>
            </a:lvl3pPr>
            <a:lvl4pPr marL="1370938" indent="0">
              <a:buNone/>
              <a:defRPr sz="1200">
                <a:solidFill>
                  <a:schemeClr val="accent2"/>
                </a:solidFill>
              </a:defRPr>
            </a:lvl4pPr>
            <a:lvl5pPr marL="1827917" indent="0">
              <a:buNone/>
              <a:defRPr sz="120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64" y="571436"/>
            <a:ext cx="1814400" cy="477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585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innhold/oppsummer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3807"/>
            <a:ext cx="12201600" cy="48521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7344" y="349529"/>
            <a:ext cx="10224000" cy="816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Agenda / innhold / oppsummering – klikk for å rediger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1463" y="1728137"/>
            <a:ext cx="7152000" cy="4056000"/>
          </a:xfrm>
          <a:noFill/>
        </p:spPr>
        <p:txBody>
          <a:bodyPr vert="horz" lIns="0" tIns="0" rIns="0" bIns="0" rtlCol="0">
            <a:norm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28598-DC13-4927-8029-6764C60027AB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204781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1463" y="1359784"/>
            <a:ext cx="10176000" cy="465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28598-DC13-4927-8029-6764C60027AB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992264" y="348503"/>
            <a:ext cx="10224000" cy="816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64195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1463" y="1366225"/>
            <a:ext cx="5001600" cy="465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28598-DC13-4927-8029-6764C60027AB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6166044" y="1368703"/>
            <a:ext cx="5001600" cy="465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/>
          </p:nvPr>
        </p:nvSpPr>
        <p:spPr>
          <a:xfrm>
            <a:off x="992264" y="348503"/>
            <a:ext cx="10224000" cy="816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821489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02895" y="1365989"/>
            <a:ext cx="5001600" cy="4656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54428" y="1431635"/>
            <a:ext cx="6048000" cy="4857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92264" y="348503"/>
            <a:ext cx="10224000" cy="816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050920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1 bilde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04276" y="1361441"/>
            <a:ext cx="10190801" cy="1871801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8056" y="3434927"/>
            <a:ext cx="12201600" cy="2851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65172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2 bild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02893" y="1359784"/>
            <a:ext cx="10200000" cy="1872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56360" y="3434927"/>
            <a:ext cx="6048000" cy="2851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6200" y="3434927"/>
            <a:ext cx="6048000" cy="28512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934368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innhold og 3 bild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002893" y="1359784"/>
            <a:ext cx="10200000" cy="1872000"/>
          </a:xfrm>
          <a:noFill/>
        </p:spPr>
        <p:txBody>
          <a:bodyPr vert="horz" lIns="0" tIns="0" rIns="0" bIns="0" rtlCol="0">
            <a:noAutofit/>
          </a:bodyPr>
          <a:lstStyle>
            <a:lvl1pPr>
              <a:defRPr lang="nb-NO" dirty="0" smtClean="0"/>
            </a:lvl1pPr>
            <a:lvl2pPr>
              <a:defRPr lang="nb-NO" dirty="0" smtClean="0"/>
            </a:lvl2pPr>
            <a:lvl3pPr>
              <a:defRPr lang="nb-NO" dirty="0" smtClean="0"/>
            </a:lvl3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9143997" y="3434069"/>
            <a:ext cx="3052800" cy="28512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5713" y="3434069"/>
            <a:ext cx="3052800" cy="28512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3143879" y="3434069"/>
            <a:ext cx="5899200" cy="28512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695475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A45A033-9154-4D9E-884F-5FEA3E85E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FD3138E8-52B4-47FD-81CB-94A4C8C05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CEFC6B37-665D-458B-BADD-B427E3A9A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D7B1F062-6F3C-47E7-90AF-1ADECF2C4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5748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1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8459" y="1430867"/>
            <a:ext cx="12200460" cy="4857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798630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F6E079-A82A-4A2C-B65F-D0A9320FE1D8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54082" y="1430867"/>
            <a:ext cx="6049543" cy="4857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-8459" y="1430867"/>
            <a:ext cx="6054913" cy="4857600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437418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10601" y="1"/>
            <a:ext cx="12201600" cy="6288000"/>
          </a:xfrm>
          <a:noFill/>
        </p:spPr>
        <p:txBody>
          <a:bodyPr bIns="512423" anchor="ctr"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Klikk ikonet for å sette inn ett bild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1D58555-C89C-4453-9FFC-71450F2E847A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03263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-8061" y="-1"/>
            <a:ext cx="12201600" cy="6297600"/>
          </a:xfrm>
          <a:prstGeom prst="rect">
            <a:avLst/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2" name="Media Placeholder 1"/>
          <p:cNvSpPr>
            <a:spLocks noGrp="1"/>
          </p:cNvSpPr>
          <p:nvPr>
            <p:ph type="media" sz="quarter" idx="14" hasCustomPrompt="1"/>
          </p:nvPr>
        </p:nvSpPr>
        <p:spPr>
          <a:xfrm>
            <a:off x="-15047" y="9677"/>
            <a:ext cx="12201600" cy="6288000"/>
          </a:xfrm>
          <a:prstGeom prst="rect">
            <a:avLst/>
          </a:prstGeom>
          <a:noFill/>
        </p:spPr>
        <p:txBody>
          <a:bodyPr lIns="0" tIns="0" rIns="0" bIns="512423" anchor="ctr"/>
          <a:lstStyle>
            <a:lvl1pPr marL="0" indent="0" algn="ctr">
              <a:buNone/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Klikk ikonet for å sette inn video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A520A0D-11C2-4694-8182-803A8C168D34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75649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visuel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 userDrawn="1"/>
        </p:nvSpPr>
        <p:spPr>
          <a:xfrm>
            <a:off x="0" y="1420135"/>
            <a:ext cx="12192000" cy="4868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89E5D-289A-4C61-9F93-D00ED1009886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innhold 6"/>
          <p:cNvSpPr>
            <a:spLocks noGrp="1"/>
          </p:cNvSpPr>
          <p:nvPr>
            <p:ph sz="quarter" idx="14" hasCustomPrompt="1"/>
          </p:nvPr>
        </p:nvSpPr>
        <p:spPr>
          <a:xfrm>
            <a:off x="1012060" y="1727200"/>
            <a:ext cx="10165469" cy="4274072"/>
          </a:xfrm>
          <a:ln w="3175">
            <a:noFill/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 dirty="0"/>
              <a:t>Klikk et ikon for å sette inn tabell, illustrasjon, graf, etc.</a:t>
            </a:r>
          </a:p>
        </p:txBody>
      </p:sp>
    </p:spTree>
    <p:extLst>
      <p:ext uri="{BB962C8B-B14F-4D97-AF65-F5344CB8AC3E}">
        <p14:creationId xmlns:p14="http://schemas.microsoft.com/office/powerpoint/2010/main" val="938481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09635887-A948-47F3-BD76-0DB3562A43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416" y="87059"/>
            <a:ext cx="6456000" cy="6530243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BD52492-A102-430B-AE6A-944739D8F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791" y="3373755"/>
            <a:ext cx="7200000" cy="1488000"/>
          </a:xfrm>
        </p:spPr>
        <p:txBody>
          <a:bodyPr anchor="t">
            <a:normAutofit/>
          </a:bodyPr>
          <a:lstStyle>
            <a:lvl1pPr>
              <a:defRPr sz="3467" baseline="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371CBE89-464D-494D-94C3-CADE19C4E2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3596" y="6441265"/>
            <a:ext cx="765525" cy="192000"/>
          </a:xfrm>
        </p:spPr>
        <p:txBody>
          <a:bodyPr/>
          <a:lstStyle/>
          <a:p>
            <a:fld id="{19ABB3DC-4EBC-42C9-801A-674BA57E19DD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4043" y="6439800"/>
            <a:ext cx="6816000" cy="19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>
              <a:defRPr sz="1067">
                <a:solidFill>
                  <a:schemeClr val="accent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059" y="6441845"/>
            <a:ext cx="250503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 b="0">
                <a:solidFill>
                  <a:schemeClr val="accent2"/>
                </a:solidFill>
              </a:defRPr>
            </a:lvl1pPr>
          </a:lstStyle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815313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>
            <a:extLst>
              <a:ext uri="{FF2B5EF4-FFF2-40B4-BE49-F238E27FC236}">
                <a16:creationId xmlns:a16="http://schemas.microsoft.com/office/drawing/2014/main" id="{1EA82EB2-03A4-40BE-B772-66AD57CB76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416" y="86005"/>
            <a:ext cx="6456000" cy="653024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95B81FB0-156C-4622-922F-9D6ABCFC7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791" y="3373755"/>
            <a:ext cx="7200000" cy="1488000"/>
          </a:xfrm>
        </p:spPr>
        <p:txBody>
          <a:bodyPr anchor="t">
            <a:normAutofit/>
          </a:bodyPr>
          <a:lstStyle>
            <a:lvl1pPr>
              <a:defRPr sz="3467" baseline="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8ADA884C-E32B-4F3D-94F9-85DEEDFBC6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3596" y="6441265"/>
            <a:ext cx="765525" cy="192000"/>
          </a:xfrm>
        </p:spPr>
        <p:txBody>
          <a:bodyPr/>
          <a:lstStyle/>
          <a:p>
            <a:fld id="{19ABB3DC-4EBC-42C9-801A-674BA57E19DD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4043" y="6439800"/>
            <a:ext cx="6816000" cy="19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>
              <a:defRPr sz="1067">
                <a:solidFill>
                  <a:schemeClr val="accent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059" y="6441845"/>
            <a:ext cx="250503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 b="0">
                <a:solidFill>
                  <a:schemeClr val="accent2"/>
                </a:solidFill>
              </a:defRPr>
            </a:lvl1pPr>
          </a:lstStyle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120988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12A88AE-1AC2-465C-BEC7-4BB6D0128F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0416" y="86003"/>
            <a:ext cx="6456000" cy="653024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0A164699-DED0-4B59-9F25-3EBA92C88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791" y="3373755"/>
            <a:ext cx="7200000" cy="1488000"/>
          </a:xfrm>
        </p:spPr>
        <p:txBody>
          <a:bodyPr anchor="t">
            <a:normAutofit/>
          </a:bodyPr>
          <a:lstStyle>
            <a:lvl1pPr>
              <a:defRPr sz="3467" baseline="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F9B6AF68-A525-497B-8E8B-E4BBD98D0F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3596" y="6441265"/>
            <a:ext cx="765525" cy="192000"/>
          </a:xfrm>
        </p:spPr>
        <p:txBody>
          <a:bodyPr/>
          <a:lstStyle/>
          <a:p>
            <a:fld id="{19ABB3DC-4EBC-42C9-801A-674BA57E19DD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4043" y="6439800"/>
            <a:ext cx="6816000" cy="19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>
              <a:defRPr sz="1067">
                <a:solidFill>
                  <a:schemeClr val="accent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059" y="6441845"/>
            <a:ext cx="250503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 b="0">
                <a:solidFill>
                  <a:schemeClr val="accent2"/>
                </a:solidFill>
              </a:defRPr>
            </a:lvl1pPr>
          </a:lstStyle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853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69108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37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3B3B69-E024-4C68-A5B2-DF5EB490D8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C897A4A5-4704-49E6-B134-C0151F753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F8DFA9F-3DFB-4CA9-A7F9-1B47F53297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23835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43971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801807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40035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807320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44861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18760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2036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81562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21AD8-DA08-2346-8B1D-E9FDD5C73557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8290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2BF7D57-1C37-4F4B-9C9D-CD75AFCF7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182F3DE-C5B2-4521-807B-E11712B137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A034C776-F2E3-410D-801C-519D5D994D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B139956-972A-44C5-9605-5F0F36665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1FE9D708-CF42-42AC-A033-3AF26E9DA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42E0261-8EA7-4C84-BA25-9D397849B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30325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70B6F41-0805-489F-9766-BE86D53EF7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35CE4576-35D0-43D0-8998-9A9A2B6D98F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D7E1C11-C865-4657-9AE4-72F627C4F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17B6972-8DB4-4BF4-B821-68FAC9BAB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648EB86-4BAA-4A7C-8667-A6295AB46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1AB60860-18BB-4717-BDCC-18E5572B1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5688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D8E0A1C3-4EF1-486A-B14F-5158FFE10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C66E66B-1B77-4BFA-8930-916EC535BB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591BA0E-707C-41F6-BA77-F7EB766A3B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E69352-D25B-441A-B932-BB92259A0DB3}" type="datetimeFigureOut">
              <a:rPr lang="nb-NO" smtClean="0"/>
              <a:t>21.0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1220EE5-A2DB-4B7D-A315-D459234CC5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698798F-3493-45C2-8A47-E0668B5C7E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160F08-20C8-4E79-97B8-F966A77A5EB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5703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2899" y="348503"/>
            <a:ext cx="10224000" cy="816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1823" y="1357109"/>
            <a:ext cx="10175640" cy="4656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3596" y="6438520"/>
            <a:ext cx="765525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67">
                <a:solidFill>
                  <a:schemeClr val="accent1"/>
                </a:solidFill>
              </a:defRPr>
            </a:lvl1pPr>
          </a:lstStyle>
          <a:p>
            <a:fld id="{E125AF1F-0F36-4636-9781-2A8387FAFAA2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4043" y="6439800"/>
            <a:ext cx="6816000" cy="19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>
              <a:defRPr sz="1067">
                <a:solidFill>
                  <a:schemeClr val="accent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059" y="6441845"/>
            <a:ext cx="250503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 b="0">
                <a:solidFill>
                  <a:schemeClr val="accent2"/>
                </a:solidFill>
              </a:defRPr>
            </a:lvl1pPr>
          </a:lstStyle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427" y="6438520"/>
            <a:ext cx="1104000" cy="29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459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</p:sldLayoutIdLst>
  <p:hf hdr="0" dt="0"/>
  <p:txStyles>
    <p:titleStyle>
      <a:lvl1pPr algn="l" defTabSz="913958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489" indent="-228489" algn="l" defTabSz="913958" rtl="0" eaLnBrk="1" latinLnBrk="0" hangingPunct="1">
        <a:lnSpc>
          <a:spcPct val="100000"/>
        </a:lnSpc>
        <a:spcBef>
          <a:spcPts val="1333"/>
        </a:spcBef>
        <a:buClr>
          <a:schemeClr val="accent2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79988" indent="-215995" algn="l" defTabSz="913958" rtl="0" eaLnBrk="1" latinLnBrk="0" hangingPunct="1">
        <a:lnSpc>
          <a:spcPct val="100000"/>
        </a:lnSpc>
        <a:spcBef>
          <a:spcPts val="800"/>
        </a:spcBef>
        <a:buClrTx/>
        <a:buSzPct val="100000"/>
        <a:buFont typeface="Arial" panose="020B0604020202020204" pitchFamily="34" charset="0"/>
        <a:buChar char="−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215995" algn="l" defTabSz="913958" rtl="0" eaLnBrk="1" latinLnBrk="0" hangingPunct="1">
        <a:lnSpc>
          <a:spcPct val="100000"/>
        </a:lnSpc>
        <a:spcBef>
          <a:spcPts val="533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27" indent="-228489" algn="l" defTabSz="913958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‒"/>
        <a:defRPr sz="1600" kern="1200">
          <a:solidFill>
            <a:schemeClr val="dk2"/>
          </a:solidFill>
          <a:latin typeface="+mn-lt"/>
          <a:ea typeface="+mn-ea"/>
          <a:cs typeface="+mn-cs"/>
        </a:defRPr>
      </a:lvl4pPr>
      <a:lvl5pPr marL="2056406" indent="-228489" algn="l" defTabSz="913958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‒"/>
        <a:defRPr sz="1600" kern="1200">
          <a:solidFill>
            <a:schemeClr val="dk2"/>
          </a:solidFill>
          <a:latin typeface="+mn-lt"/>
          <a:ea typeface="+mn-ea"/>
          <a:cs typeface="+mn-cs"/>
        </a:defRPr>
      </a:lvl5pPr>
      <a:lvl6pPr marL="2513385" indent="-228489" algn="l" defTabSz="9139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970363" indent="-228489" algn="l" defTabSz="9139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427342" indent="-228489" algn="l" defTabSz="9139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884320" indent="-228489" algn="l" defTabSz="9139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979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958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936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917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895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874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8853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5831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2899" y="348503"/>
            <a:ext cx="10224000" cy="816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1823" y="1357109"/>
            <a:ext cx="10175640" cy="4656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3596" y="6438520"/>
            <a:ext cx="765525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67">
                <a:solidFill>
                  <a:schemeClr val="accent1"/>
                </a:solidFill>
              </a:defRPr>
            </a:lvl1pPr>
          </a:lstStyle>
          <a:p>
            <a:fld id="{E125AF1F-0F36-4636-9781-2A8387FAFAA2}" type="datetime1">
              <a:rPr lang="nb-NO" smtClean="0"/>
              <a:t>21.01.2021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24043" y="6439800"/>
            <a:ext cx="6816000" cy="192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>
              <a:defRPr sz="1067">
                <a:solidFill>
                  <a:schemeClr val="accent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2059" y="6441845"/>
            <a:ext cx="250503" cy="192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067" b="0">
                <a:solidFill>
                  <a:schemeClr val="accent2"/>
                </a:solidFill>
              </a:defRPr>
            </a:lvl1pPr>
          </a:lstStyle>
          <a:p>
            <a:fld id="{811F7FF2-F88B-49DF-A497-C9D4E9D2E5DD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3427" y="6438520"/>
            <a:ext cx="1104000" cy="290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509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</p:sldLayoutIdLst>
  <p:hf hdr="0" dt="0"/>
  <p:txStyles>
    <p:titleStyle>
      <a:lvl1pPr algn="l" defTabSz="913958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489" indent="-228489" algn="l" defTabSz="913958" rtl="0" eaLnBrk="1" latinLnBrk="0" hangingPunct="1">
        <a:lnSpc>
          <a:spcPct val="100000"/>
        </a:lnSpc>
        <a:spcBef>
          <a:spcPts val="1333"/>
        </a:spcBef>
        <a:buClr>
          <a:schemeClr val="accent2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79988" indent="-215995" algn="l" defTabSz="913958" rtl="0" eaLnBrk="1" latinLnBrk="0" hangingPunct="1">
        <a:lnSpc>
          <a:spcPct val="100000"/>
        </a:lnSpc>
        <a:spcBef>
          <a:spcPts val="800"/>
        </a:spcBef>
        <a:buClrTx/>
        <a:buSzPct val="100000"/>
        <a:buFont typeface="Arial" panose="020B0604020202020204" pitchFamily="34" charset="0"/>
        <a:buChar char="−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215995" algn="l" defTabSz="913958" rtl="0" eaLnBrk="1" latinLnBrk="0" hangingPunct="1">
        <a:lnSpc>
          <a:spcPct val="100000"/>
        </a:lnSpc>
        <a:spcBef>
          <a:spcPts val="533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427" indent="-228489" algn="l" defTabSz="913958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‒"/>
        <a:defRPr sz="1600" kern="1200">
          <a:solidFill>
            <a:schemeClr val="dk2"/>
          </a:solidFill>
          <a:latin typeface="+mn-lt"/>
          <a:ea typeface="+mn-ea"/>
          <a:cs typeface="+mn-cs"/>
        </a:defRPr>
      </a:lvl4pPr>
      <a:lvl5pPr marL="2056406" indent="-228489" algn="l" defTabSz="913958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‒"/>
        <a:defRPr sz="1600" kern="1200">
          <a:solidFill>
            <a:schemeClr val="dk2"/>
          </a:solidFill>
          <a:latin typeface="+mn-lt"/>
          <a:ea typeface="+mn-ea"/>
          <a:cs typeface="+mn-cs"/>
        </a:defRPr>
      </a:lvl5pPr>
      <a:lvl6pPr marL="2513385" indent="-228489" algn="l" defTabSz="9139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970363" indent="-228489" algn="l" defTabSz="9139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427342" indent="-228489" algn="l" defTabSz="9139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884320" indent="-228489" algn="l" defTabSz="91395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56979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913958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936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917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895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874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198853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55831" algn="l" defTabSz="913958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64000" y="274638"/>
            <a:ext cx="9893109" cy="1143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64000" y="1600201"/>
            <a:ext cx="9893109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860178" y="6356351"/>
            <a:ext cx="13224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021AD8-DA08-2346-8B1D-E9FDD5C73557}" type="datetimeFigureOut">
              <a:rPr lang="nb-NO" smtClean="0"/>
              <a:t>21.01.2021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500884" y="6356351"/>
            <a:ext cx="39209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728733" y="6356351"/>
            <a:ext cx="8536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39988E-3E33-9B4E-9C87-B0592F0DEE2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2265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>
            <a:extLst>
              <a:ext uri="{FF2B5EF4-FFF2-40B4-BE49-F238E27FC236}">
                <a16:creationId xmlns:a16="http://schemas.microsoft.com/office/drawing/2014/main" id="{9F686210-CA08-497B-9A64-AB4911356846}"/>
              </a:ext>
            </a:extLst>
          </p:cNvPr>
          <p:cNvSpPr txBox="1"/>
          <p:nvPr/>
        </p:nvSpPr>
        <p:spPr>
          <a:xfrm>
            <a:off x="2804190" y="488476"/>
            <a:ext cx="602196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ammen Helsepark 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8CFA760C-4F85-4C17-95CC-20259A742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5593" y="138750"/>
            <a:ext cx="4038165" cy="1255885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7A12DE91-35AF-4733-B5FF-834E6B2938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0980" y="1600167"/>
            <a:ext cx="9421402" cy="5119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683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bygning&#10;&#10;Automatisk generert beskrivelse">
            <a:extLst>
              <a:ext uri="{FF2B5EF4-FFF2-40B4-BE49-F238E27FC236}">
                <a16:creationId xmlns:a16="http://schemas.microsoft.com/office/drawing/2014/main" id="{8F20C271-FEC6-4CEF-B2DA-785543AA49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78834"/>
            <a:ext cx="10058400" cy="670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5738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bygning&#10;&#10;Automatisk generert beskrivelse">
            <a:extLst>
              <a:ext uri="{FF2B5EF4-FFF2-40B4-BE49-F238E27FC236}">
                <a16:creationId xmlns:a16="http://schemas.microsoft.com/office/drawing/2014/main" id="{8F20C271-FEC6-4CEF-B2DA-785543AA498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57" t="39466" r="41605" b="19622"/>
          <a:stretch/>
        </p:blipFill>
        <p:spPr>
          <a:xfrm>
            <a:off x="0" y="89478"/>
            <a:ext cx="8040166" cy="6437388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50DE84AD-3819-4580-8504-9A02D5F6E489}"/>
              </a:ext>
            </a:extLst>
          </p:cNvPr>
          <p:cNvSpPr txBox="1"/>
          <p:nvPr/>
        </p:nvSpPr>
        <p:spPr>
          <a:xfrm>
            <a:off x="8229599" y="1453165"/>
            <a:ext cx="396240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 dirty="0"/>
              <a:t>Det nye sykehuset </a:t>
            </a:r>
          </a:p>
          <a:p>
            <a:r>
              <a:rPr lang="nb-NO" sz="4000" dirty="0"/>
              <a:t>og </a:t>
            </a:r>
          </a:p>
          <a:p>
            <a:r>
              <a:rPr lang="nb-NO" sz="4000" dirty="0"/>
              <a:t>helseparken </a:t>
            </a:r>
          </a:p>
          <a:p>
            <a:r>
              <a:rPr lang="nb-NO" sz="4000" dirty="0"/>
              <a:t>er tett integrert</a:t>
            </a:r>
          </a:p>
        </p:txBody>
      </p:sp>
    </p:spTree>
    <p:extLst>
      <p:ext uri="{BB962C8B-B14F-4D97-AF65-F5344CB8AC3E}">
        <p14:creationId xmlns:p14="http://schemas.microsoft.com/office/powerpoint/2010/main" val="3403512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A1DDBC66-BA41-4F49-AAD1-C654D95458D9}"/>
              </a:ext>
            </a:extLst>
          </p:cNvPr>
          <p:cNvSpPr txBox="1"/>
          <p:nvPr/>
        </p:nvSpPr>
        <p:spPr>
          <a:xfrm>
            <a:off x="314960" y="233680"/>
            <a:ext cx="11531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endParaRPr lang="nb-NO" sz="2000" dirty="0"/>
          </a:p>
          <a:p>
            <a:pPr marL="285750" indent="-285750">
              <a:buFontTx/>
              <a:buChar char="-"/>
            </a:pPr>
            <a:endParaRPr lang="nb-NO" sz="2000" dirty="0"/>
          </a:p>
          <a:p>
            <a:endParaRPr lang="nb-NO" sz="2000" dirty="0"/>
          </a:p>
          <a:p>
            <a:endParaRPr lang="nb-NO" dirty="0"/>
          </a:p>
          <a:p>
            <a:r>
              <a:rPr lang="nb-NO" dirty="0"/>
              <a:t> </a:t>
            </a: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54ECD909-D4ED-4340-8C65-27220DEF63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156" r="24196"/>
          <a:stretch/>
        </p:blipFill>
        <p:spPr>
          <a:xfrm>
            <a:off x="258646" y="96455"/>
            <a:ext cx="11674707" cy="341377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D7DF972A-2E9C-4DC6-82D3-F4D2FB834CFB}"/>
              </a:ext>
            </a:extLst>
          </p:cNvPr>
          <p:cNvSpPr txBox="1"/>
          <p:nvPr/>
        </p:nvSpPr>
        <p:spPr>
          <a:xfrm>
            <a:off x="1301854" y="3687901"/>
            <a:ext cx="910290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000" dirty="0"/>
              <a:t>Pasienten i sentrum</a:t>
            </a:r>
          </a:p>
          <a:p>
            <a:pPr algn="ctr"/>
            <a:r>
              <a:rPr lang="nb-NO" sz="4000" dirty="0"/>
              <a:t>Best mulig for brukere og ansatte</a:t>
            </a:r>
          </a:p>
          <a:p>
            <a:pPr algn="ctr"/>
            <a:r>
              <a:rPr lang="nb-NO" sz="4000" dirty="0"/>
              <a:t>Komplette helsetilbud</a:t>
            </a:r>
          </a:p>
          <a:p>
            <a:pPr algn="ctr"/>
            <a:r>
              <a:rPr lang="nb-NO" sz="4000" dirty="0"/>
              <a:t>Utdanning</a:t>
            </a:r>
          </a:p>
          <a:p>
            <a:pPr algn="ctr"/>
            <a:r>
              <a:rPr lang="nb-NO" sz="4000" dirty="0"/>
              <a:t>Forskning</a:t>
            </a:r>
          </a:p>
        </p:txBody>
      </p:sp>
    </p:spTree>
    <p:extLst>
      <p:ext uri="{BB962C8B-B14F-4D97-AF65-F5344CB8AC3E}">
        <p14:creationId xmlns:p14="http://schemas.microsoft.com/office/powerpoint/2010/main" val="2077779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898B0688-1E48-4AA6-A054-4177D6D27A4A}"/>
              </a:ext>
            </a:extLst>
          </p:cNvPr>
          <p:cNvSpPr txBox="1"/>
          <p:nvPr/>
        </p:nvSpPr>
        <p:spPr>
          <a:xfrm>
            <a:off x="186648" y="1833986"/>
            <a:ext cx="16592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Kontor</a:t>
            </a:r>
          </a:p>
          <a:p>
            <a:endParaRPr lang="nb-NO" sz="2800" dirty="0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F112FD6D-F2B1-40EA-AE6F-BCF4B991D0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11" t="19106" r="2979"/>
          <a:stretch/>
        </p:blipFill>
        <p:spPr>
          <a:xfrm>
            <a:off x="0" y="3046355"/>
            <a:ext cx="11901733" cy="2251438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4E7AF75A-ACA5-4CC6-AE2C-D844CD392070}"/>
              </a:ext>
            </a:extLst>
          </p:cNvPr>
          <p:cNvSpPr txBox="1"/>
          <p:nvPr/>
        </p:nvSpPr>
        <p:spPr>
          <a:xfrm>
            <a:off x="4436724" y="1774243"/>
            <a:ext cx="165927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Pasient-</a:t>
            </a:r>
          </a:p>
          <a:p>
            <a:r>
              <a:rPr lang="nb-NO" sz="2800" dirty="0"/>
              <a:t>Sykehotell</a:t>
            </a:r>
          </a:p>
          <a:p>
            <a:endParaRPr lang="nb-NO" sz="2800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FB9F8E1-F3CD-4652-9C2F-5DA01BD45F82}"/>
              </a:ext>
            </a:extLst>
          </p:cNvPr>
          <p:cNvSpPr txBox="1"/>
          <p:nvPr/>
        </p:nvSpPr>
        <p:spPr>
          <a:xfrm>
            <a:off x="7289800" y="1774243"/>
            <a:ext cx="1879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Behandling</a:t>
            </a:r>
          </a:p>
          <a:p>
            <a:endParaRPr lang="nb-NO" sz="2800" dirty="0"/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082F4DCA-92DC-47F1-BFAD-4B0DCA3C62B3}"/>
              </a:ext>
            </a:extLst>
          </p:cNvPr>
          <p:cNvSpPr txBox="1"/>
          <p:nvPr/>
        </p:nvSpPr>
        <p:spPr>
          <a:xfrm>
            <a:off x="10009719" y="1774243"/>
            <a:ext cx="189201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Utdanning og</a:t>
            </a:r>
          </a:p>
          <a:p>
            <a:r>
              <a:rPr lang="nb-NO" sz="2800" dirty="0"/>
              <a:t>forskning</a:t>
            </a:r>
          </a:p>
          <a:p>
            <a:endParaRPr lang="nb-NO" sz="2800" dirty="0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00B94513-A84D-4FC0-BE9F-832F191DCCD9}"/>
              </a:ext>
            </a:extLst>
          </p:cNvPr>
          <p:cNvSpPr txBox="1"/>
          <p:nvPr/>
        </p:nvSpPr>
        <p:spPr>
          <a:xfrm>
            <a:off x="2506324" y="1774243"/>
            <a:ext cx="165927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Legevakt </a:t>
            </a:r>
          </a:p>
          <a:p>
            <a:r>
              <a:rPr lang="nb-NO" sz="2800" dirty="0"/>
              <a:t>og </a:t>
            </a:r>
          </a:p>
          <a:p>
            <a:r>
              <a:rPr lang="nb-NO" sz="2800" dirty="0"/>
              <a:t>Helsehus</a:t>
            </a:r>
          </a:p>
          <a:p>
            <a:endParaRPr lang="nb-NO" sz="2800" dirty="0"/>
          </a:p>
        </p:txBody>
      </p:sp>
      <p:sp>
        <p:nvSpPr>
          <p:cNvPr id="10" name="Pil: opp og ned 9">
            <a:extLst>
              <a:ext uri="{FF2B5EF4-FFF2-40B4-BE49-F238E27FC236}">
                <a16:creationId xmlns:a16="http://schemas.microsoft.com/office/drawing/2014/main" id="{CD38019F-5F60-447F-A2B2-A0D20BD6EF6E}"/>
              </a:ext>
            </a:extLst>
          </p:cNvPr>
          <p:cNvSpPr/>
          <p:nvPr/>
        </p:nvSpPr>
        <p:spPr>
          <a:xfrm>
            <a:off x="6375400" y="5003800"/>
            <a:ext cx="241300" cy="91440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F400D837-005F-418E-937D-6747D0B833B1}"/>
              </a:ext>
            </a:extLst>
          </p:cNvPr>
          <p:cNvSpPr txBox="1"/>
          <p:nvPr/>
        </p:nvSpPr>
        <p:spPr>
          <a:xfrm>
            <a:off x="1845924" y="5918200"/>
            <a:ext cx="97201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Forbindelse: Hovedinngang på sykehuset og Brakerøya stasjon</a:t>
            </a:r>
          </a:p>
        </p:txBody>
      </p:sp>
    </p:spTree>
    <p:extLst>
      <p:ext uri="{BB962C8B-B14F-4D97-AF65-F5344CB8AC3E}">
        <p14:creationId xmlns:p14="http://schemas.microsoft.com/office/powerpoint/2010/main" val="24295525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32CBCC1-478B-4AAD-A55C-50A9D6847CA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62" b="1854"/>
          <a:stretch/>
        </p:blipFill>
        <p:spPr>
          <a:xfrm>
            <a:off x="58837" y="123290"/>
            <a:ext cx="12074326" cy="5527497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A9DAEEAF-30F5-4CB2-858F-9D583EC42349}"/>
              </a:ext>
            </a:extLst>
          </p:cNvPr>
          <p:cNvSpPr txBox="1"/>
          <p:nvPr/>
        </p:nvSpPr>
        <p:spPr>
          <a:xfrm>
            <a:off x="470899" y="5856270"/>
            <a:ext cx="112502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Muligheter for gangbru mellom det nye sykehuset og helseparken</a:t>
            </a:r>
          </a:p>
        </p:txBody>
      </p:sp>
    </p:spTree>
    <p:extLst>
      <p:ext uri="{BB962C8B-B14F-4D97-AF65-F5344CB8AC3E}">
        <p14:creationId xmlns:p14="http://schemas.microsoft.com/office/powerpoint/2010/main" val="3269733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3"/>
          <a:srcRect l="46250" t="60000" r="32639" b="11778"/>
          <a:stretch/>
        </p:blipFill>
        <p:spPr>
          <a:xfrm>
            <a:off x="184935" y="5862320"/>
            <a:ext cx="1191680" cy="995680"/>
          </a:xfrm>
          <a:prstGeom prst="rect">
            <a:avLst/>
          </a:prstGeom>
        </p:spPr>
      </p:pic>
      <p:grpSp>
        <p:nvGrpSpPr>
          <p:cNvPr id="4" name="Group 4">
            <a:extLst>
              <a:ext uri="{FF2B5EF4-FFF2-40B4-BE49-F238E27FC236}">
                <a16:creationId xmlns:a16="http://schemas.microsoft.com/office/drawing/2014/main" id="{AA4DA9CD-9E4D-4A8C-BD54-CCCDFCBBECC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6323" y="257232"/>
            <a:ext cx="7418748" cy="5647107"/>
            <a:chOff x="3503" y="1599"/>
            <a:chExt cx="4087" cy="3111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B0BB7818-0D1E-4F3F-8DC7-697A0157F9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859" y="1733"/>
              <a:ext cx="3408" cy="2153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0485" name="Picture 5">
              <a:extLst>
                <a:ext uri="{FF2B5EF4-FFF2-40B4-BE49-F238E27FC236}">
                  <a16:creationId xmlns:a16="http://schemas.microsoft.com/office/drawing/2014/main" id="{EF5F7795-3011-4288-AE68-4F4C4F7A464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752" b="47106"/>
            <a:stretch/>
          </p:blipFill>
          <p:spPr bwMode="auto">
            <a:xfrm>
              <a:off x="3503" y="1599"/>
              <a:ext cx="4087" cy="3111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FA105AE7-9681-493B-965E-8AC92D8F9902}"/>
              </a:ext>
            </a:extLst>
          </p:cNvPr>
          <p:cNvSpPr txBox="1"/>
          <p:nvPr/>
        </p:nvSpPr>
        <p:spPr>
          <a:xfrm>
            <a:off x="7921375" y="390418"/>
            <a:ext cx="400430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Det nye sykehuset </a:t>
            </a:r>
          </a:p>
          <a:p>
            <a:r>
              <a:rPr lang="nb-NO" sz="3200" dirty="0"/>
              <a:t>og</a:t>
            </a:r>
          </a:p>
          <a:p>
            <a:r>
              <a:rPr lang="nb-NO" sz="3200" dirty="0"/>
              <a:t>helseparken</a:t>
            </a:r>
          </a:p>
          <a:p>
            <a:r>
              <a:rPr lang="nb-NO" sz="3200" dirty="0"/>
              <a:t>kan realisere verdiskapning </a:t>
            </a:r>
          </a:p>
          <a:p>
            <a:r>
              <a:rPr lang="nb-NO" sz="3200" dirty="0"/>
              <a:t>og gi</a:t>
            </a:r>
          </a:p>
          <a:p>
            <a:r>
              <a:rPr lang="nb-NO" sz="3200" dirty="0"/>
              <a:t>bedre tjenester</a:t>
            </a:r>
          </a:p>
          <a:p>
            <a:r>
              <a:rPr lang="nb-NO" sz="3200" dirty="0"/>
              <a:t>til det beste for pasientene </a:t>
            </a:r>
          </a:p>
        </p:txBody>
      </p:sp>
    </p:spTree>
    <p:extLst>
      <p:ext uri="{BB962C8B-B14F-4D97-AF65-F5344CB8AC3E}">
        <p14:creationId xmlns:p14="http://schemas.microsoft.com/office/powerpoint/2010/main" val="2863853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FD5CEA40-C794-40B5-8E84-B283052C46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799" b="1913"/>
          <a:stretch/>
        </p:blipFill>
        <p:spPr>
          <a:xfrm>
            <a:off x="0" y="123290"/>
            <a:ext cx="11916004" cy="5582633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2654151D-470E-4154-8441-5CFA15E4C7E2}"/>
              </a:ext>
            </a:extLst>
          </p:cNvPr>
          <p:cNvSpPr txBox="1"/>
          <p:nvPr/>
        </p:nvSpPr>
        <p:spPr>
          <a:xfrm>
            <a:off x="2537716" y="5835721"/>
            <a:ext cx="76336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 dirty="0"/>
              <a:t>TAKK FOR OPPMERKSOMHETEN</a:t>
            </a:r>
          </a:p>
        </p:txBody>
      </p:sp>
    </p:spTree>
    <p:extLst>
      <p:ext uri="{BB962C8B-B14F-4D97-AF65-F5344CB8AC3E}">
        <p14:creationId xmlns:p14="http://schemas.microsoft.com/office/powerpoint/2010/main" val="39103689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esentasjonsmal Bane NOR">
  <a:themeElements>
    <a:clrScheme name="Bane NOR profilfarger">
      <a:dk1>
        <a:sysClr val="windowText" lastClr="000000"/>
      </a:dk1>
      <a:lt1>
        <a:sysClr val="window" lastClr="FFFFFF"/>
      </a:lt1>
      <a:dk2>
        <a:srgbClr val="1E285A"/>
      </a:dk2>
      <a:lt2>
        <a:srgbClr val="D2D4DE"/>
      </a:lt2>
      <a:accent1>
        <a:srgbClr val="1E285A"/>
      </a:accent1>
      <a:accent2>
        <a:srgbClr val="00AAFF"/>
      </a:accent2>
      <a:accent3>
        <a:srgbClr val="00E1CD"/>
      </a:accent3>
      <a:accent4>
        <a:srgbClr val="3C00F0"/>
      </a:accent4>
      <a:accent5>
        <a:srgbClr val="00F03C"/>
      </a:accent5>
      <a:accent6>
        <a:srgbClr val="787E9C"/>
      </a:accent6>
      <a:hlink>
        <a:srgbClr val="00AAFF"/>
      </a:hlink>
      <a:folHlink>
        <a:srgbClr val="00AAFF"/>
      </a:folHlink>
    </a:clrScheme>
    <a:fontScheme name="Bane NOR temaskrif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317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1009 Standard selskapspresentasjon Bane NOR Eiendom" id="{01273273-F173-438A-AC64-3271816AE68C}" vid="{4CA1B939-27E9-422C-9874-140B341E6E91}"/>
    </a:ext>
  </a:extLst>
</a:theme>
</file>

<file path=ppt/theme/theme3.xml><?xml version="1.0" encoding="utf-8"?>
<a:theme xmlns:a="http://schemas.openxmlformats.org/drawingml/2006/main" name="1_Presentasjonsmal Bane NOR">
  <a:themeElements>
    <a:clrScheme name="Bane NOR profilfarger">
      <a:dk1>
        <a:sysClr val="windowText" lastClr="000000"/>
      </a:dk1>
      <a:lt1>
        <a:sysClr val="window" lastClr="FFFFFF"/>
      </a:lt1>
      <a:dk2>
        <a:srgbClr val="1E285A"/>
      </a:dk2>
      <a:lt2>
        <a:srgbClr val="D2D4DE"/>
      </a:lt2>
      <a:accent1>
        <a:srgbClr val="1E285A"/>
      </a:accent1>
      <a:accent2>
        <a:srgbClr val="00AAFF"/>
      </a:accent2>
      <a:accent3>
        <a:srgbClr val="00E1CD"/>
      </a:accent3>
      <a:accent4>
        <a:srgbClr val="3C00F0"/>
      </a:accent4>
      <a:accent5>
        <a:srgbClr val="00F03C"/>
      </a:accent5>
      <a:accent6>
        <a:srgbClr val="787E9C"/>
      </a:accent6>
      <a:hlink>
        <a:srgbClr val="00AAFF"/>
      </a:hlink>
      <a:folHlink>
        <a:srgbClr val="00AAFF"/>
      </a:folHlink>
    </a:clrScheme>
    <a:fontScheme name="Bane NOR temaskrif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3175">
          <a:solidFill>
            <a:schemeClr val="tx2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sjonsmal Bane NOR Eiendom AS 16_9 (002) [Skrivebeskyttet]" id="{7664BE17-DDD2-4140-8DA8-25E33E86311A}" vid="{6A246C4F-B9E5-4680-8DF4-6EE926D8BFEA}"/>
    </a:ext>
  </a:extLst>
</a:theme>
</file>

<file path=ppt/theme/theme4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32</TotalTime>
  <Words>1079</Words>
  <Application>Microsoft Macintosh PowerPoint</Application>
  <PresentationFormat>Widescreen</PresentationFormat>
  <Paragraphs>184</Paragraphs>
  <Slides>8</Slides>
  <Notes>8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Courier New</vt:lpstr>
      <vt:lpstr>Wingdings</vt:lpstr>
      <vt:lpstr>Office-tema</vt:lpstr>
      <vt:lpstr>Presentasjonsmal Bane NOR</vt:lpstr>
      <vt:lpstr>1_Presentasjonsmal Bane NOR</vt:lpstr>
      <vt:lpstr>1_Office-tema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Simenstad Jon Christian</dc:creator>
  <cp:lastModifiedBy>Rino Andersen</cp:lastModifiedBy>
  <cp:revision>41</cp:revision>
  <cp:lastPrinted>2021-01-19T16:47:23Z</cp:lastPrinted>
  <dcterms:created xsi:type="dcterms:W3CDTF">2019-02-17T16:36:45Z</dcterms:created>
  <dcterms:modified xsi:type="dcterms:W3CDTF">2021-01-21T14:24:16Z</dcterms:modified>
</cp:coreProperties>
</file>